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272DBF41-701C-4A52-986C-030F013E7DC1}"/>
    <pc:docChg chg="modSld">
      <pc:chgData name="Weigel Stefan (PAR-EPS)" userId="fd3b2067-2981-4ad8-bf3a-d2e1004e4fa8" providerId="ADAL" clId="{272DBF41-701C-4A52-986C-030F013E7DC1}" dt="2024-02-16T10:55:25.648" v="10" actId="27918"/>
      <pc:docMkLst>
        <pc:docMk/>
      </pc:docMkLst>
      <pc:sldChg chg="modSp mod">
        <pc:chgData name="Weigel Stefan (PAR-EPS)" userId="fd3b2067-2981-4ad8-bf3a-d2e1004e4fa8" providerId="ADAL" clId="{272DBF41-701C-4A52-986C-030F013E7DC1}" dt="2024-02-16T10:55:25.648" v="10" actId="27918"/>
        <pc:sldMkLst>
          <pc:docMk/>
          <pc:sldMk cId="2820921500" sldId="408"/>
        </pc:sldMkLst>
        <pc:spChg chg="mod">
          <ac:chgData name="Weigel Stefan (PAR-EPS)" userId="fd3b2067-2981-4ad8-bf3a-d2e1004e4fa8" providerId="ADAL" clId="{272DBF41-701C-4A52-986C-030F013E7DC1}" dt="2024-02-16T10:55:07.514" v="1" actId="790"/>
          <ac:spMkLst>
            <pc:docMk/>
            <pc:sldMk cId="2820921500" sldId="408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0:50:06.283" v="31" actId="27918"/>
      <pc:docMkLst>
        <pc:docMk/>
      </pc:docMkLst>
      <pc:sldChg chg="mod">
        <pc:chgData name="Weigel Stefan (PAR-EPS)" userId="fd3b2067-2981-4ad8-bf3a-d2e1004e4fa8" providerId="ADAL" clId="{C1AF9310-36A8-456C-89D4-051DE09B39F8}" dt="2024-02-16T10:50:06.283" v="31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736321963790263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reti e barriere antirumore (lunghezza di costruzione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21.21557209999997</c:v>
                </c:pt>
                <c:pt idx="1">
                  <c:v>345.35845210000002</c:v>
                </c:pt>
                <c:pt idx="2">
                  <c:v>368.13877209999998</c:v>
                </c:pt>
                <c:pt idx="3">
                  <c:v>383.05045860000001</c:v>
                </c:pt>
                <c:pt idx="4">
                  <c:v>390.82165859999998</c:v>
                </c:pt>
                <c:pt idx="5">
                  <c:v>402.5056586</c:v>
                </c:pt>
                <c:pt idx="6">
                  <c:v>403.75584859999998</c:v>
                </c:pt>
                <c:pt idx="7">
                  <c:v>412.27625444639398</c:v>
                </c:pt>
                <c:pt idx="8">
                  <c:v>416.74980696325702</c:v>
                </c:pt>
                <c:pt idx="9">
                  <c:v>421.91321236947499</c:v>
                </c:pt>
                <c:pt idx="10">
                  <c:v>425.0173975114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Carri merci FFS Cargo SA poco rumorosi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0.7201086956522</c:v>
                </c:pt>
                <c:pt idx="1">
                  <c:v>91.607981220657294</c:v>
                </c:pt>
                <c:pt idx="2">
                  <c:v>92.613812325797497</c:v>
                </c:pt>
                <c:pt idx="3">
                  <c:v>92.908876536971505</c:v>
                </c:pt>
                <c:pt idx="4">
                  <c:v>93.596059113300498</c:v>
                </c:pt>
                <c:pt idx="5">
                  <c:v>93.670172802404196</c:v>
                </c:pt>
                <c:pt idx="6">
                  <c:v>97.340214370782107</c:v>
                </c:pt>
                <c:pt idx="7">
                  <c:v>98.022199798183607</c:v>
                </c:pt>
                <c:pt idx="8">
                  <c:v>98.758295868122502</c:v>
                </c:pt>
                <c:pt idx="9">
                  <c:v>98.784458432819605</c:v>
                </c:pt>
                <c:pt idx="10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Materiale rotabile FFS Viaggiatori poco rumoroso (%)</c:v>
                </c:pt>
              </c:strCache>
            </c:strRef>
          </c:tx>
          <c:spPr>
            <a:ln>
              <a:solidFill>
                <a:srgbClr val="C60018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292209225336606</c:v>
                </c:pt>
                <c:pt idx="1">
                  <c:v>96.932377966860699</c:v>
                </c:pt>
                <c:pt idx="2">
                  <c:v>97.156819191470504</c:v>
                </c:pt>
                <c:pt idx="3">
                  <c:v>97.557184099489206</c:v>
                </c:pt>
                <c:pt idx="4">
                  <c:v>97.597204019222403</c:v>
                </c:pt>
                <c:pt idx="5">
                  <c:v>97.674418604651194</c:v>
                </c:pt>
                <c:pt idx="6">
                  <c:v>97.846153846153896</c:v>
                </c:pt>
                <c:pt idx="7">
                  <c:v>97.984344422700602</c:v>
                </c:pt>
                <c:pt idx="8">
                  <c:v>98.285936891312801</c:v>
                </c:pt>
                <c:pt idx="9">
                  <c:v>98.458574181117498</c:v>
                </c:pt>
                <c:pt idx="10">
                  <c:v>98.553758325404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281302806491255E-2"/>
          <c:y val="0.89190526818841931"/>
          <c:w val="0.92302060588964441"/>
          <c:h val="0.1052976785183653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1</cdr:x>
      <cdr:y>0.0503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-1881188"/>
          <a:ext cx="307849" cy="2011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km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Protezione contro i rumori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49095572"/>
              </p:ext>
            </p:extLst>
          </p:nvPr>
        </p:nvGraphicFramePr>
        <p:xfrm>
          <a:off x="1487487" y="1881188"/>
          <a:ext cx="9217025" cy="3994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96e82a89-ba48-4728-b345-cf206dbec8f1"/>
    <ds:schemaRef ds:uri="http://schemas.openxmlformats.org/package/2006/metadata/core-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F639671-1A8E-4731-96A6-0088518DB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rotezione contro i rumor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zione contro i rumori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2:4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